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3" r:id="rId2"/>
  </p:sldMasterIdLst>
  <p:notesMasterIdLst>
    <p:notesMasterId r:id="rId10"/>
  </p:notesMasterIdLst>
  <p:handoutMasterIdLst>
    <p:handoutMasterId r:id="rId11"/>
  </p:handoutMasterIdLst>
  <p:sldIdLst>
    <p:sldId id="370" r:id="rId3"/>
    <p:sldId id="258" r:id="rId4"/>
    <p:sldId id="387" r:id="rId5"/>
    <p:sldId id="389" r:id="rId6"/>
    <p:sldId id="376" r:id="rId7"/>
    <p:sldId id="375" r:id="rId8"/>
    <p:sldId id="374" r:id="rId9"/>
  </p:sldIdLst>
  <p:sldSz cx="12192000" cy="6858000"/>
  <p:notesSz cx="67945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ТВАРДОВСКИЙ Дмитрий Вячеславович" initials="ТДВ" lastIdx="3" clrIdx="0">
    <p:extLst>
      <p:ext uri="{19B8F6BF-5375-455C-9EA6-DF929625EA0E}">
        <p15:presenceInfo xmlns:p15="http://schemas.microsoft.com/office/powerpoint/2012/main" userId="S-1-5-21-761548304-1907457859-2130403006-170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2AA"/>
    <a:srgbClr val="556973"/>
    <a:srgbClr val="2F4450"/>
    <a:srgbClr val="E6E6E6"/>
    <a:srgbClr val="000000"/>
    <a:srgbClr val="FFFFFF"/>
    <a:srgbClr val="3A4E57"/>
    <a:srgbClr val="30454F"/>
    <a:srgbClr val="314C53"/>
    <a:srgbClr val="35A4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19" autoAdjust="0"/>
    <p:restoredTop sz="94249" autoAdjust="0"/>
  </p:normalViewPr>
  <p:slideViewPr>
    <p:cSldViewPr snapToGrid="0">
      <p:cViewPr varScale="1">
        <p:scale>
          <a:sx n="70" d="100"/>
          <a:sy n="70" d="100"/>
        </p:scale>
        <p:origin x="600" y="54"/>
      </p:cViewPr>
      <p:guideLst>
        <p:guide orient="horz" pos="2160"/>
        <p:guide pos="5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8FC99CA1-0469-47E9-B6AC-745C73A205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9226E0C-D880-405E-B904-65E602C2D6B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786771-0243-4CB6-9A21-362932B32D92}" type="datetimeFigureOut">
              <a:rPr lang="ru-RU" smtClean="0"/>
              <a:t>27.09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86A5251-72A2-498B-87AE-8B4E2812568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5F9DD0D-8353-48A5-BC06-D7624FEB5CE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39AADA-0AC0-47D4-805B-2964FA241A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682366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D63CAC-C20D-4825-B968-9ED472476F5F}" type="datetimeFigureOut">
              <a:rPr lang="ru-RU" smtClean="0"/>
              <a:t>27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CD42C6-FA2C-4F34-865E-C71F3CF58B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76035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5450" y="1238250"/>
            <a:ext cx="59436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472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9F6F56-A98D-49DE-9881-B56A05F5CB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9944" y="4476523"/>
            <a:ext cx="6589487" cy="621620"/>
          </a:xfrm>
        </p:spPr>
        <p:txBody>
          <a:bodyPr anchor="b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FBEC40A-639A-48C2-B097-429533D886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9943" y="5416438"/>
            <a:ext cx="1393372" cy="51990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744291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/>
        </p:nvSpPr>
        <p:spPr>
          <a:xfrm>
            <a:off x="527052" y="6381750"/>
            <a:ext cx="1631949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+mn-lt"/>
                <a:cs typeface="+mn-cs"/>
              </a:rPr>
              <a:t>ОАО «ФЦПФ»</a:t>
            </a:r>
            <a:endParaRPr lang="ru-RU" sz="1050" dirty="0">
              <a:latin typeface="+mn-lt"/>
              <a:cs typeface="+mn-cs"/>
            </a:endParaRPr>
          </a:p>
        </p:txBody>
      </p:sp>
      <p:sp>
        <p:nvSpPr>
          <p:cNvPr id="5" name="Прямоугольник 14"/>
          <p:cNvSpPr>
            <a:spLocks noChangeArrowheads="1"/>
          </p:cNvSpPr>
          <p:nvPr/>
        </p:nvSpPr>
        <p:spPr bwMode="auto">
          <a:xfrm>
            <a:off x="1583268" y="6335716"/>
            <a:ext cx="26246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6" name="Прямоугольник 15"/>
          <p:cNvSpPr>
            <a:spLocks noChangeArrowheads="1"/>
          </p:cNvSpPr>
          <p:nvPr/>
        </p:nvSpPr>
        <p:spPr bwMode="auto">
          <a:xfrm>
            <a:off x="2736852" y="6327778"/>
            <a:ext cx="26246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400"/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7FF9829E-C9D6-4C7A-9A1D-369619A6682C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5"/>
          </p:nvPr>
        </p:nvSpPr>
        <p:spPr>
          <a:xfrm>
            <a:off x="2914651" y="6381750"/>
            <a:ext cx="6961716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/>
              <a:t>Основные принципы деятельности ОАО «ФЦПФ»</a:t>
            </a:r>
            <a:endParaRPr lang="ru-RU" sz="1050"/>
          </a:p>
        </p:txBody>
      </p:sp>
      <p:sp>
        <p:nvSpPr>
          <p:cNvPr id="10" name="Дата 2"/>
          <p:cNvSpPr>
            <a:spLocks noGrp="1"/>
          </p:cNvSpPr>
          <p:nvPr>
            <p:ph type="dt" sz="half" idx="16"/>
          </p:nvPr>
        </p:nvSpPr>
        <p:spPr>
          <a:xfrm>
            <a:off x="1665819" y="6380163"/>
            <a:ext cx="1153583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891D52CD-9B6F-4876-90D4-EE554EFDF7C5}" type="datetime1">
              <a:rPr lang="ru-RU"/>
              <a:pPr>
                <a:defRPr/>
              </a:pPr>
              <a:t>27.09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5014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514350"/>
            <a:fld id="{8457E30E-55E5-458C-B62C-70E402CC8352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514350"/>
              <a:t>27.09.2021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514350"/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514350"/>
            <a:fld id="{812512CA-D50F-47CD-81C9-3263EC7AB964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514350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7896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4136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E383AD-0056-4611-87CC-DFCC34D94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6885" y="522515"/>
            <a:ext cx="10515600" cy="587602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E1DFE41-C2AE-47BC-8C88-3947DD6E3DD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85" y="1110117"/>
            <a:ext cx="10515600" cy="4747986"/>
          </a:xfrm>
        </p:spPr>
        <p:txBody>
          <a:bodyPr/>
          <a:lstStyle>
            <a:lvl1pPr>
              <a:defRPr>
                <a:solidFill>
                  <a:srgbClr val="7596A7"/>
                </a:solidFill>
              </a:defRPr>
            </a:lvl1pPr>
            <a:lvl2pPr>
              <a:defRPr>
                <a:solidFill>
                  <a:srgbClr val="7596A7"/>
                </a:solidFill>
              </a:defRPr>
            </a:lvl2pPr>
            <a:lvl3pPr>
              <a:defRPr>
                <a:solidFill>
                  <a:srgbClr val="7596A7"/>
                </a:solidFill>
              </a:defRPr>
            </a:lvl3pPr>
            <a:lvl4pPr>
              <a:defRPr>
                <a:solidFill>
                  <a:srgbClr val="7596A7"/>
                </a:solidFill>
              </a:defRPr>
            </a:lvl4pPr>
            <a:lvl5pPr>
              <a:defRPr>
                <a:solidFill>
                  <a:srgbClr val="7596A7"/>
                </a:solidFill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F68A430-B56D-4BD5-BC65-A15082D5A3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6885" y="6095960"/>
            <a:ext cx="2743200" cy="365125"/>
          </a:xfrm>
        </p:spPr>
        <p:txBody>
          <a:bodyPr/>
          <a:lstStyle/>
          <a:p>
            <a:fld id="{737D4DAB-56B2-47BD-BE8B-630DE3CA536B}" type="datetime1">
              <a:rPr lang="ru-RU" smtClean="0"/>
              <a:t>27.09.2021</a:t>
            </a:fld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7DFB1DC-197F-4A13-B055-37259286E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99285" y="6106665"/>
            <a:ext cx="2743200" cy="365125"/>
          </a:xfrm>
        </p:spPr>
        <p:txBody>
          <a:bodyPr/>
          <a:lstStyle/>
          <a:p>
            <a:fld id="{62E21156-095B-496A-BAB7-1B65ABED13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93576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6CA693-2AA1-473B-B39D-118E23984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45516" y="636362"/>
            <a:ext cx="5246913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7598998-5FAD-4250-9B85-DED6D1D9342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745516" y="2144940"/>
            <a:ext cx="5246913" cy="170134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, текст, текст, текст, текст, текст, текст, текст, текст, текст</a:t>
            </a:r>
          </a:p>
        </p:txBody>
      </p:sp>
    </p:spTree>
    <p:extLst>
      <p:ext uri="{BB962C8B-B14F-4D97-AF65-F5344CB8AC3E}">
        <p14:creationId xmlns:p14="http://schemas.microsoft.com/office/powerpoint/2010/main" val="94156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457E30E-55E5-458C-B62C-70E402CC8352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685800"/>
              <a:t>27.09.2021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812512CA-D50F-47CD-81C9-3263EC7AB964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685800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868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9F6F56-A98D-49DE-9881-B56A05F5CB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9944" y="4476523"/>
            <a:ext cx="6589487" cy="621620"/>
          </a:xfrm>
        </p:spPr>
        <p:txBody>
          <a:bodyPr anchor="b">
            <a:no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FBEC40A-639A-48C2-B097-429533D886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9943" y="5416438"/>
            <a:ext cx="1393372" cy="51990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EBDE3A-082E-476B-AEE0-FCD948377C6F}"/>
              </a:ext>
            </a:extLst>
          </p:cNvPr>
          <p:cNvSpPr txBox="1"/>
          <p:nvPr userDrawn="1"/>
        </p:nvSpPr>
        <p:spPr>
          <a:xfrm>
            <a:off x="5675088" y="1727200"/>
            <a:ext cx="7692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360542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19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E383AD-0056-4611-87CC-DFCC34D94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6885" y="522515"/>
            <a:ext cx="10515600" cy="587602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E1DFE41-C2AE-47BC-8C88-3947DD6E3DD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6885" y="1110117"/>
            <a:ext cx="10515600" cy="4747986"/>
          </a:xfrm>
        </p:spPr>
        <p:txBody>
          <a:bodyPr/>
          <a:lstStyle>
            <a:lvl1pPr>
              <a:defRPr>
                <a:solidFill>
                  <a:srgbClr val="7596A7"/>
                </a:solidFill>
              </a:defRPr>
            </a:lvl1pPr>
            <a:lvl2pPr>
              <a:defRPr>
                <a:solidFill>
                  <a:srgbClr val="7596A7"/>
                </a:solidFill>
              </a:defRPr>
            </a:lvl2pPr>
            <a:lvl3pPr>
              <a:defRPr>
                <a:solidFill>
                  <a:srgbClr val="7596A7"/>
                </a:solidFill>
              </a:defRPr>
            </a:lvl3pPr>
            <a:lvl4pPr>
              <a:defRPr>
                <a:solidFill>
                  <a:srgbClr val="7596A7"/>
                </a:solidFill>
              </a:defRPr>
            </a:lvl4pPr>
            <a:lvl5pPr>
              <a:defRPr>
                <a:solidFill>
                  <a:srgbClr val="7596A7"/>
                </a:solidFill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F68A430-B56D-4BD5-BC65-A15082D5A3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26885" y="6095960"/>
            <a:ext cx="2743200" cy="365125"/>
          </a:xfrm>
        </p:spPr>
        <p:txBody>
          <a:bodyPr/>
          <a:lstStyle/>
          <a:p>
            <a:fld id="{737D4DAB-56B2-47BD-BE8B-630DE3CA536B}" type="datetime1">
              <a:rPr lang="ru-RU" smtClean="0"/>
              <a:t>27.09.2021</a:t>
            </a:fld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7DFB1DC-197F-4A13-B055-37259286E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99285" y="6106665"/>
            <a:ext cx="2743200" cy="365125"/>
          </a:xfrm>
        </p:spPr>
        <p:txBody>
          <a:bodyPr/>
          <a:lstStyle/>
          <a:p>
            <a:fld id="{62E21156-095B-496A-BAB7-1B65ABED13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1627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6CA693-2AA1-473B-B39D-118E23984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45516" y="636362"/>
            <a:ext cx="5246913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7598998-5FAD-4250-9B85-DED6D1D9342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745516" y="2144940"/>
            <a:ext cx="5246913" cy="170134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, текст, текст, текст, текст, текст, текст, текст, текст, текст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1C9BED-8397-448D-9372-C8EE54B7AA29}"/>
              </a:ext>
            </a:extLst>
          </p:cNvPr>
          <p:cNvSpPr txBox="1"/>
          <p:nvPr userDrawn="1"/>
        </p:nvSpPr>
        <p:spPr>
          <a:xfrm>
            <a:off x="2075544" y="3244335"/>
            <a:ext cx="1611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/>
              <a:t>ФОТО/ГРАФИК</a:t>
            </a:r>
          </a:p>
        </p:txBody>
      </p:sp>
    </p:spTree>
    <p:extLst>
      <p:ext uri="{BB962C8B-B14F-4D97-AF65-F5344CB8AC3E}">
        <p14:creationId xmlns:p14="http://schemas.microsoft.com/office/powerpoint/2010/main" val="2934003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CF09CD-9234-4035-9A06-D40E6B503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70E3584-C2B7-4CC2-8290-DF746E350A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41DADB-A366-45CA-865E-4248505E86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2547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F9EAF4-AD6E-46C4-B4A6-34B85CF83C83}" type="datetime1">
              <a:rPr lang="ru-RU" smtClean="0"/>
              <a:t>27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25567E1-FB14-421F-84E7-04ACBE52A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547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D00DEC1-EB69-45C1-BB7F-884A76F68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2547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E21156-095B-496A-BAB7-1B65ABED130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7915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8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CF09CD-9234-4035-9A06-D40E6B503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70E3584-C2B7-4CC2-8290-DF746E350A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41DADB-A366-45CA-865E-4248505E86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2547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F9EAF4-AD6E-46C4-B4A6-34B85CF83C83}" type="datetime1">
              <a:rPr lang="ru-RU" smtClean="0"/>
              <a:t>27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25567E1-FB14-421F-84E7-04ACBE52A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547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D00DEC1-EB69-45C1-BB7F-884A76F68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2547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E21156-095B-496A-BAB7-1B65ABED130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4376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9" r:id="rId5"/>
    <p:sldLayoutId id="2147483682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763250" y="4099596"/>
            <a:ext cx="3806487" cy="2758404"/>
          </a:xfrm>
          <a:prstGeom prst="rect">
            <a:avLst/>
          </a:prstGeom>
          <a:solidFill>
            <a:srgbClr val="2F44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1546" y="4525557"/>
            <a:ext cx="2457379" cy="19183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9"/>
          <a:srcRect t="6837" b="26860"/>
          <a:stretch/>
        </p:blipFill>
        <p:spPr>
          <a:xfrm>
            <a:off x="193486" y="-27296"/>
            <a:ext cx="11998514" cy="4176215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608036F-0827-4BE9-8A54-6639714BBCEC}"/>
              </a:ext>
            </a:extLst>
          </p:cNvPr>
          <p:cNvSpPr/>
          <p:nvPr/>
        </p:nvSpPr>
        <p:spPr>
          <a:xfrm>
            <a:off x="193486" y="-27296"/>
            <a:ext cx="11998514" cy="4176215"/>
          </a:xfrm>
          <a:prstGeom prst="rect">
            <a:avLst/>
          </a:prstGeom>
          <a:gradFill>
            <a:gsLst>
              <a:gs pos="55000">
                <a:srgbClr val="556973">
                  <a:alpha val="71000"/>
                </a:srgbClr>
              </a:gs>
              <a:gs pos="0">
                <a:srgbClr val="AFABAB">
                  <a:alpha val="50000"/>
                </a:srgbClr>
              </a:gs>
            </a:gsLst>
            <a:path path="circl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>
            <a:outerShdw blurRad="50800" dist="50800" dir="5400000" sx="52000" sy="52000" algn="ctr" rotWithShape="0">
              <a:srgbClr val="000000">
                <a:alpha val="0"/>
              </a:srgbClr>
            </a:outerShdw>
          </a:effectLst>
        </p:spPr>
        <p:txBody>
          <a:bodyPr rtlCol="0" anchor="ctr"/>
          <a:lstStyle/>
          <a:p>
            <a:pPr algn="ctr" defTabSz="421979">
              <a:defRPr/>
            </a:pPr>
            <a:endParaRPr lang="ru-RU" sz="166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38325" y="6259201"/>
            <a:ext cx="1686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dirty="0">
                <a:solidFill>
                  <a:srgbClr val="7596A7"/>
                </a:solidFill>
                <a:latin typeface="Tahoma"/>
                <a:cs typeface="Tahoma"/>
              </a:rPr>
              <a:t>Москва - 2021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4146" y="76699"/>
            <a:ext cx="1229706" cy="1412500"/>
          </a:xfrm>
          <a:prstGeom prst="rect">
            <a:avLst/>
          </a:prstGeom>
        </p:spPr>
      </p:pic>
      <p:sp>
        <p:nvSpPr>
          <p:cNvPr id="18" name="Заголовок 1"/>
          <p:cNvSpPr txBox="1">
            <a:spLocks/>
          </p:cNvSpPr>
          <p:nvPr/>
        </p:nvSpPr>
        <p:spPr>
          <a:xfrm>
            <a:off x="444167" y="5078700"/>
            <a:ext cx="5328591" cy="75951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ветлана Дубинчина</a:t>
            </a:r>
            <a:r>
              <a:rPr lang="ru-RU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ректор службы инвестиционных соглашений</a:t>
            </a:r>
            <a:endParaRPr lang="ru-RU" sz="1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904596" y="1712046"/>
            <a:ext cx="6521212" cy="1528549"/>
          </a:xfrm>
          <a:prstGeom prst="roundRect">
            <a:avLst/>
          </a:prstGeom>
          <a:solidFill>
            <a:srgbClr val="2F445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CB52BBBC-AE74-48E1-95F5-0611E5C4DC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32137" y="1868251"/>
            <a:ext cx="6521212" cy="1216140"/>
          </a:xfrm>
        </p:spPr>
        <p:txBody>
          <a:bodyPr>
            <a:noAutofit/>
          </a:bodyPr>
          <a:lstStyle/>
          <a:p>
            <a:pPr algn="ctr" defTabSz="932962"/>
            <a:r>
              <a:rPr lang="ru-RU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ализация проектов по созданию парковых пространств с применением механизмов ГЧП</a:t>
            </a:r>
            <a:endParaRPr lang="ru-RU" sz="28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75637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A4379E-F9FB-4141-90E6-7F0295006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600" y="365128"/>
            <a:ext cx="5181600" cy="808580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арки – почему </a:t>
            </a:r>
            <a:r>
              <a:rPr lang="en-US" sz="28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PP</a:t>
            </a:r>
            <a:endParaRPr lang="ru-RU" sz="2800" b="1" dirty="0">
              <a:solidFill>
                <a:srgbClr val="55697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E1A77BE-B3C6-6C42-B852-0EB6585495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44708" y="1238267"/>
            <a:ext cx="5181598" cy="4034501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200" dirty="0" smtClean="0"/>
              <a:t>Парки – сфера, которая достаточно долго не попадала в спектр </a:t>
            </a:r>
            <a:r>
              <a:rPr lang="ru-RU" sz="2200" dirty="0" smtClean="0"/>
              <a:t>ГЧП-активности</a:t>
            </a:r>
            <a:endParaRPr lang="ru-RU" sz="2200" dirty="0" smtClean="0"/>
          </a:p>
          <a:p>
            <a:pPr algn="just"/>
            <a:endParaRPr lang="ru-RU" dirty="0"/>
          </a:p>
          <a:p>
            <a:pPr marL="0" indent="0" algn="just">
              <a:buNone/>
            </a:pPr>
            <a:endParaRPr lang="ru-RU" dirty="0"/>
          </a:p>
          <a:p>
            <a:pPr marL="0" indent="0" algn="just">
              <a:buNone/>
            </a:pPr>
            <a:r>
              <a:rPr lang="ru-RU" dirty="0" smtClean="0"/>
              <a:t>  </a:t>
            </a:r>
            <a:endParaRPr lang="ru-RU" dirty="0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7E16E06-EF58-A54D-9941-E3931F79B6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881" y="1211472"/>
            <a:ext cx="4544704" cy="4802387"/>
          </a:xfrm>
          <a:prstGeom prst="roundRect">
            <a:avLst/>
          </a:prstGeom>
          <a:solidFill>
            <a:srgbClr val="20B2AA"/>
          </a:solidFill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споряжение </a:t>
            </a: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инкультуры России от 02.08.2017 </a:t>
            </a:r>
            <a:r>
              <a:rPr lang="en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 </a:t>
            </a: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-965</a:t>
            </a:r>
          </a:p>
          <a:p>
            <a:pPr marL="0" indent="0" algn="ctr">
              <a:buNone/>
            </a:pPr>
            <a:r>
              <a:rPr lang="ru-RU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Об </a:t>
            </a: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тверждении Методических рекомендаций субъектам Российской Федерации и органам местного самоуправления по развитию сети организаций культуры и обеспеченности населения услугами организаций </a:t>
            </a:r>
            <a:r>
              <a:rPr lang="ru-RU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ультуры»</a:t>
            </a:r>
            <a:endParaRPr lang="ru-RU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</a:t>
            </a:r>
            <a:r>
              <a:rPr lang="ru-RU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зывает</a:t>
            </a: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что в каждом городском поселении с числом населения 30 тыс. </a:t>
            </a:r>
            <a:r>
              <a:rPr lang="ru-RU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ел. должен </a:t>
            </a:r>
            <a:r>
              <a:rPr lang="ru-RU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ыть как минимум 1 парк с доступностью 30 минут на </a:t>
            </a:r>
            <a:r>
              <a:rPr lang="ru-RU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е </a:t>
            </a:r>
            <a:endParaRPr lang="ru-RU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400571" y="1375246"/>
            <a:ext cx="658270" cy="658270"/>
          </a:xfrm>
          <a:prstGeom prst="rect">
            <a:avLst/>
          </a:prstGeom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9213" y="139700"/>
            <a:ext cx="615950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00431" y="6106664"/>
            <a:ext cx="274355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Microsoft YaHei" panose="020B0503020204020204" pitchFamily="34" charset="-122"/>
                <a:cs typeface="+mn-cs"/>
              </a:rPr>
              <a:t>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83830" y="2713363"/>
            <a:ext cx="579081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200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</a:t>
            </a:r>
            <a:r>
              <a:rPr lang="ru-RU" sz="2200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изнес-идеи</a:t>
            </a:r>
            <a:endParaRPr lang="ru-RU" sz="2200" dirty="0">
              <a:solidFill>
                <a:srgbClr val="2F44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200" dirty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профессиональных </a:t>
            </a:r>
            <a:r>
              <a:rPr lang="ru-RU" sz="2200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торов</a:t>
            </a:r>
            <a:endParaRPr lang="ru-RU" sz="2200" dirty="0">
              <a:solidFill>
                <a:srgbClr val="2F44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200" dirty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планомерного развития новых территорий, обеспечивающих развитие городской </a:t>
            </a:r>
            <a:r>
              <a:rPr lang="ru-RU" sz="2200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ы </a:t>
            </a:r>
            <a:endParaRPr lang="ru-RU" sz="2200" dirty="0">
              <a:solidFill>
                <a:srgbClr val="2F445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05034" y="2475431"/>
            <a:ext cx="6107139" cy="2361590"/>
          </a:xfrm>
          <a:prstGeom prst="roundRect">
            <a:avLst/>
          </a:prstGeom>
          <a:noFill/>
          <a:ln w="28575">
            <a:solidFill>
              <a:srgbClr val="20B2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583830" y="2282476"/>
            <a:ext cx="3180679" cy="43088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причины: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05034" y="1211473"/>
            <a:ext cx="6107139" cy="985817"/>
          </a:xfrm>
          <a:prstGeom prst="roundRect">
            <a:avLst/>
          </a:prstGeom>
          <a:noFill/>
          <a:ln w="28575">
            <a:solidFill>
              <a:srgbClr val="20B2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8" name="Группа 17"/>
          <p:cNvGrpSpPr/>
          <p:nvPr/>
        </p:nvGrpSpPr>
        <p:grpSpPr>
          <a:xfrm>
            <a:off x="305034" y="5028043"/>
            <a:ext cx="6195686" cy="985817"/>
            <a:chOff x="305033" y="5485972"/>
            <a:chExt cx="6195686" cy="985817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59023" y="5622307"/>
              <a:ext cx="666919" cy="666919"/>
            </a:xfrm>
            <a:prstGeom prst="rect">
              <a:avLst/>
            </a:prstGeom>
          </p:spPr>
        </p:pic>
        <p:sp>
          <p:nvSpPr>
            <p:cNvPr id="12" name="Прямоугольник 11"/>
            <p:cNvSpPr/>
            <p:nvPr/>
          </p:nvSpPr>
          <p:spPr>
            <a:xfrm>
              <a:off x="1196523" y="5579666"/>
              <a:ext cx="530419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200" dirty="0">
                  <a:solidFill>
                    <a:srgbClr val="2F44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ем не менее: </a:t>
              </a:r>
              <a:endParaRPr lang="ru-RU" sz="2200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ru-RU" sz="2200" dirty="0" smtClean="0">
                  <a:solidFill>
                    <a:srgbClr val="2F44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арки </a:t>
              </a:r>
              <a:r>
                <a:rPr lang="ru-RU" sz="2200" dirty="0">
                  <a:solidFill>
                    <a:srgbClr val="2F44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– часть городской среды. </a:t>
              </a:r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305033" y="5485972"/>
              <a:ext cx="6107139" cy="985817"/>
            </a:xfrm>
            <a:prstGeom prst="roundRect">
              <a:avLst/>
            </a:prstGeom>
            <a:noFill/>
            <a:ln w="28575">
              <a:solidFill>
                <a:srgbClr val="20B2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39464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авнобедренный треугольник 15"/>
          <p:cNvSpPr/>
          <p:nvPr/>
        </p:nvSpPr>
        <p:spPr>
          <a:xfrm rot="5400000">
            <a:off x="2468577" y="2474036"/>
            <a:ext cx="3312366" cy="2016224"/>
          </a:xfrm>
          <a:prstGeom prst="triangle">
            <a:avLst/>
          </a:prstGeom>
          <a:gradFill flip="none" rotWithShape="1">
            <a:gsLst>
              <a:gs pos="6000">
                <a:srgbClr val="20B2AA"/>
              </a:gs>
              <a:gs pos="29000">
                <a:srgbClr val="20B2AA">
                  <a:tint val="66000"/>
                  <a:satMod val="160000"/>
                </a:srgbClr>
              </a:gs>
              <a:gs pos="97000">
                <a:schemeClr val="bg1"/>
              </a:gs>
              <a:gs pos="63000">
                <a:srgbClr val="20B2AA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object 13"/>
          <p:cNvSpPr txBox="1">
            <a:spLocks noGrp="1"/>
          </p:cNvSpPr>
          <p:nvPr>
            <p:ph type="title"/>
          </p:nvPr>
        </p:nvSpPr>
        <p:spPr>
          <a:xfrm>
            <a:off x="1005554" y="593257"/>
            <a:ext cx="10881646" cy="397121"/>
          </a:xfrm>
          <a:prstGeom prst="rect">
            <a:avLst/>
          </a:prstGeom>
        </p:spPr>
        <p:txBody>
          <a:bodyPr vert="horz" wrap="square" lIns="0" tIns="9232" rIns="0" bIns="0" rtlCol="0" anchor="ctr">
            <a:spAutoFit/>
          </a:bodyPr>
          <a:lstStyle/>
          <a:p>
            <a:r>
              <a:rPr lang="ru-RU" sz="28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ЧП в благоустройстве </a:t>
            </a:r>
            <a:r>
              <a:rPr lang="ru-RU" sz="2800" b="1" dirty="0" smtClean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щественных пространств</a:t>
            </a:r>
            <a:endParaRPr sz="2800" b="1" dirty="0">
              <a:solidFill>
                <a:srgbClr val="55697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113223" y="2007899"/>
            <a:ext cx="6350896" cy="2948499"/>
          </a:xfrm>
          <a:prstGeom prst="rect">
            <a:avLst/>
          </a:prstGeom>
          <a:ln>
            <a:solidFill>
              <a:srgbClr val="20B2AA"/>
            </a:solidFill>
          </a:ln>
        </p:spPr>
        <p:txBody>
          <a:bodyPr wrap="square">
            <a:spAutoFit/>
          </a:bodyPr>
          <a:lstStyle/>
          <a:p>
            <a:pPr marL="444500" indent="-179388" algn="just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ru-RU" sz="1600" b="1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енно </a:t>
            </a:r>
            <a:r>
              <a:rPr lang="ru-RU" sz="16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униципальный </a:t>
            </a:r>
            <a:r>
              <a:rPr lang="ru-RU" sz="1600" b="1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ровень</a:t>
            </a:r>
            <a:endParaRPr lang="ru-RU" sz="1400" b="1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44500" indent="-179388" algn="just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ru-RU" sz="16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уществующих проектах отсутствуют финансовые обязательства публичной стороны в форме платы концедента и МГД </a:t>
            </a:r>
            <a:endParaRPr lang="ru-RU" sz="1400" b="1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44500" indent="-179388" algn="just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ru-RU" sz="16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зкая капиталоемкость проектов (в основном до 200 </a:t>
            </a:r>
            <a:r>
              <a:rPr lang="ru-RU" sz="1600" b="1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 </a:t>
            </a:r>
            <a:r>
              <a:rPr lang="ru-RU" sz="16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б</a:t>
            </a:r>
            <a:r>
              <a:rPr lang="ru-RU" sz="1600" b="1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)</a:t>
            </a:r>
            <a:endParaRPr lang="ru-RU" sz="1400" b="1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44500" indent="-179388" algn="just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ru-RU" sz="16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настоящее время наблюдается активизация интереса к масштабным проектам по созданию (реконструкции) современных парковых пространств в рамках благоустройства городов и создания комфортной общественной </a:t>
            </a:r>
            <a:r>
              <a:rPr lang="ru-RU" sz="1600" b="1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ы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9213" y="139700"/>
            <a:ext cx="615950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00431" y="6106664"/>
            <a:ext cx="274355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prstClr val="black">
                    <a:tint val="75000"/>
                  </a:prstClr>
                </a:solidFill>
                <a:latin typeface="Calibri"/>
                <a:ea typeface="Microsoft YaHei" panose="020B0503020204020204" pitchFamily="34" charset="-122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29446" y="1189417"/>
            <a:ext cx="96260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ок реализуемых проектов ГЧП в сфере благоустройства общественных пространств по состоянию на начало 2021 </a:t>
            </a:r>
            <a:r>
              <a:rPr lang="ru-RU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да (по данным РОСИФНРА):</a:t>
            </a:r>
            <a:endParaRPr lang="ru-RU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473292" y="2007806"/>
            <a:ext cx="3196794" cy="2877149"/>
            <a:chOff x="1005554" y="1974421"/>
            <a:chExt cx="3196794" cy="2877149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1005554" y="1974422"/>
              <a:ext cx="1165704" cy="10156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0" b="1" dirty="0">
                  <a:solidFill>
                    <a:srgbClr val="20B2A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2</a:t>
              </a:r>
              <a:endParaRPr lang="ru-RU" dirty="0">
                <a:solidFill>
                  <a:srgbClr val="20B2AA"/>
                </a:solidFill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2983745" y="1974421"/>
              <a:ext cx="1165704" cy="10156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0" b="1" dirty="0" smtClean="0">
                  <a:solidFill>
                    <a:srgbClr val="20B2A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1</a:t>
              </a:r>
              <a:endParaRPr lang="ru-RU" dirty="0">
                <a:solidFill>
                  <a:srgbClr val="20B2AA"/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1346749" y="3232384"/>
              <a:ext cx="2570158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6000" b="1" dirty="0" smtClean="0">
                  <a:solidFill>
                    <a:srgbClr val="20B2A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,21 </a:t>
              </a:r>
              <a:r>
                <a:rPr lang="ru-RU" sz="2400" b="1" dirty="0" smtClean="0">
                  <a:solidFill>
                    <a:srgbClr val="20B2A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лрд руб.</a:t>
              </a:r>
              <a:endParaRPr lang="ru-RU" sz="1400" dirty="0">
                <a:solidFill>
                  <a:srgbClr val="20B2AA"/>
                </a:solidFill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071277" y="2704193"/>
              <a:ext cx="103425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екта</a:t>
              </a:r>
              <a:endParaRPr lang="ru-RU" dirty="0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2930846" y="2704193"/>
              <a:ext cx="127150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нцессия</a:t>
              </a: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005554" y="4482238"/>
              <a:ext cx="315503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бъем частных инвестиций </a:t>
              </a:r>
              <a:endParaRPr lang="ru-RU" dirty="0"/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1169632" y="5633554"/>
            <a:ext cx="9626052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2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</a:pPr>
            <a:r>
              <a:rPr lang="ru-RU" sz="1900" b="1" dirty="0">
                <a:solidFill>
                  <a:srgbClr val="20B2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ЭБ.РФ</a:t>
            </a:r>
            <a:r>
              <a:rPr lang="ru-RU" sz="1900" b="1" dirty="0">
                <a:solidFill>
                  <a:srgbClr val="54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900" b="1" dirty="0">
                <a:solidFill>
                  <a:srgbClr val="20B2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ВЭБ</a:t>
            </a:r>
            <a:r>
              <a:rPr lang="ru-RU" sz="1900" b="1" dirty="0">
                <a:solidFill>
                  <a:srgbClr val="54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отовы оказать содействие в </a:t>
            </a:r>
            <a:r>
              <a:rPr lang="ru-RU" sz="1900" b="1" dirty="0" smtClean="0">
                <a:solidFill>
                  <a:srgbClr val="54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е, финансировании</a:t>
            </a:r>
            <a:r>
              <a:rPr lang="ru-RU" sz="1900" b="1" dirty="0">
                <a:solidFill>
                  <a:srgbClr val="54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900" b="1" dirty="0" smtClean="0">
                <a:solidFill>
                  <a:srgbClr val="54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ном </a:t>
            </a:r>
            <a:r>
              <a:rPr lang="ru-RU" sz="1900" b="1" dirty="0">
                <a:solidFill>
                  <a:srgbClr val="54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уске </a:t>
            </a:r>
            <a:r>
              <a:rPr lang="ru-RU" sz="1900" b="1" dirty="0" smtClean="0">
                <a:solidFill>
                  <a:srgbClr val="54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ов благоустройства общественных пространств </a:t>
            </a:r>
            <a:endParaRPr lang="ru-RU" sz="1900" b="1" dirty="0">
              <a:solidFill>
                <a:srgbClr val="54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94239" y="5551860"/>
            <a:ext cx="840496" cy="840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37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32B334-FF53-9744-9F2C-9FA39E184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613" y="380206"/>
            <a:ext cx="10515600" cy="849524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арки как часть</a:t>
            </a:r>
            <a:r>
              <a:rPr lang="en-US" sz="28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8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боты по созданию устойчивых городов 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5EB9CD6-4CD2-714B-8E49-175571F41D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5640" y="1310977"/>
            <a:ext cx="5706671" cy="5280891"/>
          </a:xfrm>
          <a:prstGeom prst="roundRect">
            <a:avLst/>
          </a:prstGeom>
          <a:ln>
            <a:solidFill>
              <a:srgbClr val="20B2AA"/>
            </a:solidFill>
          </a:ln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000" b="1" dirty="0">
                <a:solidFill>
                  <a:srgbClr val="20B2AA"/>
                </a:solidFill>
              </a:rPr>
              <a:t>Современный </a:t>
            </a:r>
            <a:r>
              <a:rPr lang="ru-RU" sz="2000" b="1" dirty="0" smtClean="0">
                <a:solidFill>
                  <a:srgbClr val="20B2AA"/>
                </a:solidFill>
              </a:rPr>
              <a:t>парк, </a:t>
            </a:r>
            <a:r>
              <a:rPr lang="ru-RU" sz="2000" b="1" dirty="0">
                <a:solidFill>
                  <a:srgbClr val="20B2AA"/>
                </a:solidFill>
              </a:rPr>
              <a:t>в первую </a:t>
            </a:r>
            <a:r>
              <a:rPr lang="ru-RU" sz="2000" b="1" dirty="0" smtClean="0">
                <a:solidFill>
                  <a:srgbClr val="20B2AA"/>
                </a:solidFill>
              </a:rPr>
              <a:t>очередь, это </a:t>
            </a:r>
            <a:r>
              <a:rPr lang="ru-RU" sz="2000" b="1" dirty="0">
                <a:solidFill>
                  <a:srgbClr val="20B2AA"/>
                </a:solidFill>
              </a:rPr>
              <a:t>качество </a:t>
            </a:r>
            <a:r>
              <a:rPr lang="ru-RU" sz="2000" b="1" dirty="0" smtClean="0">
                <a:solidFill>
                  <a:srgbClr val="20B2AA"/>
                </a:solidFill>
              </a:rPr>
              <a:t>жизни </a:t>
            </a:r>
            <a:endParaRPr lang="ru-RU" sz="2000" b="1" dirty="0" smtClean="0">
              <a:solidFill>
                <a:srgbClr val="20B2AA"/>
              </a:solidFill>
            </a:endParaRPr>
          </a:p>
          <a:p>
            <a:pPr marL="457200" lvl="1" indent="0" algn="just">
              <a:buNone/>
            </a:pPr>
            <a:endParaRPr lang="ru-RU" sz="1400" b="1" dirty="0">
              <a:solidFill>
                <a:srgbClr val="20B2AA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9213" y="139700"/>
            <a:ext cx="615950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00431" y="6106664"/>
            <a:ext cx="274355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prstClr val="black">
                    <a:tint val="75000"/>
                  </a:prstClr>
                </a:solidFill>
                <a:latin typeface="Calibri"/>
                <a:ea typeface="Microsoft YaHei" panose="020B0503020204020204" pitchFamily="34" charset="-122"/>
              </a:rPr>
              <a:t>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32311" y="3233137"/>
            <a:ext cx="2128660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00" b="1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временный парк </a:t>
            </a:r>
          </a:p>
          <a:p>
            <a:pPr algn="ctr"/>
            <a:r>
              <a:rPr lang="ru-RU" sz="1900" b="1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жен </a:t>
            </a:r>
          </a:p>
          <a:p>
            <a:pPr algn="ctr"/>
            <a:r>
              <a:rPr lang="ru-RU" sz="1900" b="1" dirty="0" smtClean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олнять </a:t>
            </a:r>
            <a:r>
              <a:rPr lang="ru-RU" sz="1900" b="1" dirty="0">
                <a:solidFill>
                  <a:srgbClr val="2F445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: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8285875" y="2254220"/>
            <a:ext cx="3644846" cy="3575295"/>
            <a:chOff x="238402" y="1822354"/>
            <a:chExt cx="3644846" cy="3575295"/>
          </a:xfrm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869064" y="1822354"/>
              <a:ext cx="1587534" cy="839266"/>
            </a:xfrm>
            <a:prstGeom prst="roundRect">
              <a:avLst/>
            </a:prstGeom>
            <a:noFill/>
            <a:ln>
              <a:solidFill>
                <a:srgbClr val="20B2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хранения окружающей среды</a:t>
              </a: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869064" y="2773189"/>
              <a:ext cx="2263509" cy="805218"/>
            </a:xfrm>
            <a:prstGeom prst="roundRect">
              <a:avLst/>
            </a:prstGeom>
            <a:noFill/>
            <a:ln>
              <a:solidFill>
                <a:srgbClr val="20B2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здание комфортных условий для личного развития</a:t>
              </a: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878573" y="3689976"/>
              <a:ext cx="2023541" cy="804840"/>
            </a:xfrm>
            <a:prstGeom prst="roundRect">
              <a:avLst/>
            </a:prstGeom>
            <a:noFill/>
            <a:ln>
              <a:solidFill>
                <a:srgbClr val="20B2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озможность заботы о здоровье населения</a:t>
              </a: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878573" y="4606385"/>
              <a:ext cx="3004675" cy="791264"/>
            </a:xfrm>
            <a:prstGeom prst="roundRect">
              <a:avLst/>
            </a:prstGeom>
            <a:noFill/>
            <a:ln>
              <a:solidFill>
                <a:srgbClr val="20B2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тветственное отношение к потреблению и обращению с отходами</a:t>
              </a: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38402" y="1947833"/>
              <a:ext cx="636311" cy="636311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38402" y="2926981"/>
              <a:ext cx="616114" cy="616114"/>
            </a:xfrm>
            <a:prstGeom prst="rect">
              <a:avLst/>
            </a:prstGeom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94516" y="3878912"/>
              <a:ext cx="499706" cy="499706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77970" y="4735618"/>
              <a:ext cx="532797" cy="532797"/>
            </a:xfrm>
            <a:prstGeom prst="rect">
              <a:avLst/>
            </a:prstGeom>
          </p:spPr>
        </p:pic>
      </p:grpSp>
      <p:sp>
        <p:nvSpPr>
          <p:cNvPr id="21" name="Левая фигурная скобка 20"/>
          <p:cNvSpPr/>
          <p:nvPr/>
        </p:nvSpPr>
        <p:spPr>
          <a:xfrm>
            <a:off x="7993427" y="2164593"/>
            <a:ext cx="490331" cy="3777826"/>
          </a:xfrm>
          <a:prstGeom prst="leftBrace">
            <a:avLst/>
          </a:prstGeom>
          <a:ln w="12700">
            <a:solidFill>
              <a:srgbClr val="20B2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977377" y="2164593"/>
            <a:ext cx="5210005" cy="4016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ктически все парковые проекты – дефицит </a:t>
            </a:r>
            <a:r>
              <a:rPr lang="ru-RU" sz="15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ирования</a:t>
            </a:r>
            <a:endParaRPr lang="ru-RU" sz="15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15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5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том числе в связи с отсутствием бизнес-идеи для создания парка, как точки развития территории с большим количеством форм социальной активности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атры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ортивные клубы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ма творчества </a:t>
            </a:r>
          </a:p>
          <a:p>
            <a:pPr lvl="1"/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как часть инфраструктуры современных парков</a:t>
            </a:r>
            <a:r>
              <a:rPr lang="ru-RU" sz="15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lvl="1"/>
            <a:endParaRPr lang="ru-RU" sz="15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15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ценить </a:t>
            </a:r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тенциальный спрос достаточно </a:t>
            </a:r>
            <a:r>
              <a:rPr lang="ru-RU" sz="15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ложно, требуется </a:t>
            </a:r>
            <a:r>
              <a:rPr lang="ru-RU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бинированная работа над выработков оптимального платежного </a:t>
            </a:r>
            <a:r>
              <a:rPr lang="ru-RU" sz="15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ханизма </a:t>
            </a:r>
            <a:endParaRPr lang="ru-RU" sz="15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13245" y="2232790"/>
            <a:ext cx="554743" cy="55474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8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761375" y="2990567"/>
            <a:ext cx="705036" cy="705036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99597" y="5428067"/>
            <a:ext cx="634123" cy="678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48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3"/>
          <p:cNvSpPr txBox="1">
            <a:spLocks noGrp="1"/>
          </p:cNvSpPr>
          <p:nvPr>
            <p:ph type="title"/>
          </p:nvPr>
        </p:nvSpPr>
        <p:spPr>
          <a:xfrm>
            <a:off x="1036775" y="418659"/>
            <a:ext cx="9589827" cy="674120"/>
          </a:xfrm>
          <a:prstGeom prst="rect">
            <a:avLst/>
          </a:prstGeom>
        </p:spPr>
        <p:txBody>
          <a:bodyPr vert="horz" wrap="square" lIns="0" tIns="9232" rIns="0" bIns="0" rtlCol="0" anchor="ctr">
            <a:spAutoFit/>
          </a:bodyPr>
          <a:lstStyle/>
          <a:p>
            <a:r>
              <a:rPr lang="ru-RU" sz="24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зможные варианты реализации проекта по созданию парковой инфраструктуры с применением механизмов ГЧП</a:t>
            </a:r>
            <a:endParaRPr sz="2400" b="1" dirty="0">
              <a:solidFill>
                <a:srgbClr val="55697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4395" y="1221790"/>
            <a:ext cx="11119032" cy="1916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ханизм возмещения затрат инвестора на создание и эксплуатацию объекта 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висит от спроса на услугу</a:t>
            </a: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оказываемую в рамках проекта, и социального эффекта от реализации </a:t>
            </a:r>
            <a:r>
              <a:rPr lang="ru-RU" sz="1300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а</a:t>
            </a:r>
            <a:endParaRPr lang="ru-RU" sz="1300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ьшинство инфраструктурных объектов имеют 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граниченный</a:t>
            </a:r>
            <a:r>
              <a:rPr lang="en-US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ru-RU" sz="1300" b="1" i="1" dirty="0" err="1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латильный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латежеспособный спрос </a:t>
            </a: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оказываемые услуги, не позволяющий полностью окупить затраты </a:t>
            </a:r>
            <a:r>
              <a:rPr lang="ru-RU" sz="1300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ора </a:t>
            </a:r>
            <a:endParaRPr lang="ru-RU" sz="1300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повышения инвестиционной привлекательности таких проектов необходимо правильным образом их 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ировать, </a:t>
            </a: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итывая оптимальный объектный состав и сезонность, а также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усмотреть 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ханизмы </a:t>
            </a:r>
            <a:r>
              <a:rPr lang="ru-RU" sz="1300" b="1" i="1" dirty="0" err="1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финансирования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</a:t>
            </a:r>
            <a:r>
              <a:rPr lang="ru-RU" sz="1300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а</a:t>
            </a:r>
            <a:endParaRPr lang="ru-RU" sz="1300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грамотно структурированном проекте сочетаются 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номическая эффективность</a:t>
            </a: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3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рисков </a:t>
            </a:r>
            <a:r>
              <a:rPr lang="ru-RU" sz="13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отсутствие единовременной нагрузки на </a:t>
            </a:r>
            <a:r>
              <a:rPr lang="ru-RU" sz="1300" dirty="0" smtClean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юджет</a:t>
            </a:r>
            <a:endParaRPr lang="ru-RU" sz="1300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9213" y="139700"/>
            <a:ext cx="615950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800431" y="6106664"/>
            <a:ext cx="274355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prstClr val="black">
                    <a:tint val="75000"/>
                  </a:prstClr>
                </a:solidFill>
                <a:latin typeface="Calibri"/>
                <a:ea typeface="Microsoft YaHei" panose="020B0503020204020204" pitchFamily="34" charset="-122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Microsoft YaHei" panose="020B0503020204020204" pitchFamily="34" charset="-122"/>
              <a:cs typeface="+mn-cs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6000602" y="3135793"/>
            <a:ext cx="4036598" cy="3413347"/>
            <a:chOff x="7068288" y="3058442"/>
            <a:chExt cx="4036598" cy="3413347"/>
          </a:xfrm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7068288" y="3303437"/>
              <a:ext cx="4036598" cy="3168352"/>
            </a:xfrm>
            <a:prstGeom prst="roundRect">
              <a:avLst/>
            </a:prstGeom>
            <a:solidFill>
              <a:schemeClr val="bg2"/>
            </a:solidFill>
            <a:ln>
              <a:solidFill>
                <a:srgbClr val="20B2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108367" y="3754433"/>
              <a:ext cx="3956438" cy="2581799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t" anchorCtr="0">
              <a:noAutofit/>
            </a:bodyPr>
            <a:lstStyle/>
            <a:p>
              <a:pPr marL="204311" indent="-136208" defTabSz="514350">
                <a:lnSpc>
                  <a:spcPct val="110000"/>
                </a:lnSpc>
                <a:spcAft>
                  <a:spcPts val="300"/>
                </a:spcAft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 smtClean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меет </a:t>
              </a: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лительные сроки 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дготовки, </a:t>
              </a: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ало практики 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 реализации</a:t>
              </a:r>
              <a:endParaRPr lang="ru-RU" sz="1100" b="1" spc="-4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04311" indent="-136208" defTabSz="514350">
                <a:lnSpc>
                  <a:spcPct val="110000"/>
                </a:lnSpc>
                <a:spcAft>
                  <a:spcPts val="300"/>
                </a:spcAft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бязанности инвестора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 создание и эксплуатация объекта за счет собственных и привлеченных средств</a:t>
              </a:r>
            </a:p>
            <a:p>
              <a:pPr marL="204311" indent="-13620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бязанности публичной стороны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</a:t>
              </a:r>
            </a:p>
            <a:p>
              <a:pPr marL="360363" lvl="1" indent="-13493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здание сопутствующей транспортной и коммунальной инфраструктуры</a:t>
              </a:r>
            </a:p>
            <a:p>
              <a:pPr marL="360363" lvl="1" indent="-13493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едоставление МГД</a:t>
              </a:r>
            </a:p>
            <a:p>
              <a:pPr marL="360363" lvl="1" indent="-13493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озможное предоставление капитального гранта</a:t>
              </a:r>
              <a:endParaRPr lang="ru-RU" sz="1100" spc="-4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60363" lvl="1" indent="-134938" defTabSz="514350">
                <a:lnSpc>
                  <a:spcPct val="110000"/>
                </a:lnSpc>
                <a:spcAft>
                  <a:spcPts val="300"/>
                </a:spcAft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Гарантия и оплата посещения льготных групп населения</a:t>
              </a:r>
            </a:p>
            <a:p>
              <a:pPr marL="204311" lvl="1" indent="-13620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бственность на объект: 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частная</a:t>
              </a:r>
            </a:p>
            <a:p>
              <a:pPr marL="68103" lvl="1" defTabSz="514350">
                <a:lnSpc>
                  <a:spcPct val="110000"/>
                </a:lnSpc>
                <a:buClr>
                  <a:srgbClr val="20B2AA"/>
                </a:buClr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(в случае инвестирования более 50% в объект)</a:t>
              </a:r>
            </a:p>
          </p:txBody>
        </p:sp>
        <p:sp>
          <p:nvSpPr>
            <p:cNvPr id="39" name="Надпись 1"/>
            <p:cNvSpPr txBox="1">
              <a:spLocks noChangeArrowheads="1"/>
            </p:cNvSpPr>
            <p:nvPr/>
          </p:nvSpPr>
          <p:spPr bwMode="auto">
            <a:xfrm>
              <a:off x="8253002" y="3058442"/>
              <a:ext cx="1667169" cy="505884"/>
            </a:xfrm>
            <a:prstGeom prst="roundRect">
              <a:avLst>
                <a:gd name="adj" fmla="val 32478"/>
              </a:avLst>
            </a:prstGeom>
            <a:solidFill>
              <a:schemeClr val="bg1"/>
            </a:solidFill>
            <a:ln w="12700">
              <a:solidFill>
                <a:srgbClr val="20B2AA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lvl="0" indent="0" algn="ctr" defTabSz="914400" eaLnBrk="0" latinLnBrk="0" hangingPunct="0">
                <a:lnSpc>
                  <a:spcPct val="100000"/>
                </a:lnSpc>
                <a:buClrTx/>
                <a:buSzTx/>
                <a:buFontTx/>
                <a:buNone/>
                <a:tabLst/>
                <a:defRPr kumimoji="0" sz="105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j-lt"/>
                  <a:ea typeface="Calibri" panose="020F0502020204030204" pitchFamily="34" charset="0"/>
                </a:defRPr>
              </a:lvl1pPr>
            </a:lstStyle>
            <a:p>
              <a:r>
                <a:rPr lang="ru-RU" altLang="ru-RU" sz="1400" dirty="0">
                  <a:solidFill>
                    <a:srgbClr val="3A4E5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ариант 2</a:t>
              </a:r>
            </a:p>
            <a:p>
              <a:r>
                <a:rPr lang="ru-RU" altLang="ru-RU" sz="1400" b="1" dirty="0">
                  <a:solidFill>
                    <a:srgbClr val="3A4E5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ГЧП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789016" y="3135793"/>
            <a:ext cx="4036598" cy="3423251"/>
            <a:chOff x="1685909" y="3045931"/>
            <a:chExt cx="4036598" cy="3423251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1685909" y="3300830"/>
              <a:ext cx="4036598" cy="3168352"/>
            </a:xfrm>
            <a:prstGeom prst="roundRect">
              <a:avLst/>
            </a:prstGeom>
            <a:solidFill>
              <a:schemeClr val="bg2"/>
            </a:solidFill>
            <a:ln>
              <a:solidFill>
                <a:srgbClr val="20B2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Надпись 1"/>
            <p:cNvSpPr txBox="1">
              <a:spLocks noChangeArrowheads="1"/>
            </p:cNvSpPr>
            <p:nvPr/>
          </p:nvSpPr>
          <p:spPr bwMode="auto">
            <a:xfrm>
              <a:off x="2879684" y="3045931"/>
              <a:ext cx="1649047" cy="518395"/>
            </a:xfrm>
            <a:prstGeom prst="roundRect">
              <a:avLst>
                <a:gd name="adj" fmla="val 32478"/>
              </a:avLst>
            </a:prstGeom>
            <a:solidFill>
              <a:schemeClr val="bg1"/>
            </a:solidFill>
            <a:ln w="12700">
              <a:solidFill>
                <a:srgbClr val="20B2AA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lvl="0" indent="0" algn="ctr" defTabSz="914400" eaLnBrk="0" latinLnBrk="0" hangingPunct="0">
                <a:lnSpc>
                  <a:spcPct val="100000"/>
                </a:lnSpc>
                <a:buClrTx/>
                <a:buSzTx/>
                <a:buFontTx/>
                <a:buNone/>
                <a:tabLst/>
                <a:defRPr kumimoji="0" sz="1050" b="0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+mj-lt"/>
                  <a:ea typeface="Calibri" panose="020F0502020204030204" pitchFamily="34" charset="0"/>
                </a:defRPr>
              </a:lvl1pPr>
            </a:lstStyle>
            <a:p>
              <a:r>
                <a:rPr lang="ru-RU" altLang="ru-RU" sz="1400" dirty="0">
                  <a:solidFill>
                    <a:srgbClr val="3A4E5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ариант 1</a:t>
              </a:r>
            </a:p>
            <a:p>
              <a:r>
                <a:rPr lang="ru-RU" altLang="ru-RU" sz="1400" b="1" dirty="0">
                  <a:solidFill>
                    <a:srgbClr val="3A4E5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нцессия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860897" y="3597804"/>
              <a:ext cx="3761981" cy="2574403"/>
            </a:xfrm>
            <a:prstGeom prst="rect">
              <a:avLst/>
            </a:prstGeom>
            <a:noFill/>
            <a:ln cap="rnd">
              <a:noFill/>
              <a:prstDash val="solid"/>
            </a:ln>
          </p:spPr>
          <p:txBody>
            <a:bodyPr wrap="square" lIns="0" tIns="0" rIns="0" bIns="0" rtlCol="0" anchor="t" anchorCtr="0">
              <a:noAutofit/>
            </a:bodyPr>
            <a:lstStyle/>
            <a:p>
              <a:pPr marL="204311" indent="-136208" defTabSz="514350">
                <a:lnSpc>
                  <a:spcPct val="110000"/>
                </a:lnSpc>
                <a:spcAft>
                  <a:spcPts val="300"/>
                </a:spcAft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иболее оптимальная модель 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 учетом распределения рисков, сроков и опыта реализации аналогичных проектов</a:t>
              </a:r>
            </a:p>
            <a:p>
              <a:pPr marL="204311" indent="-136208" defTabSz="514350">
                <a:lnSpc>
                  <a:spcPct val="110000"/>
                </a:lnSpc>
                <a:spcAft>
                  <a:spcPts val="300"/>
                </a:spcAft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бязанности концессионера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 создание и эксплуатация объекта за счет собственных и привлеченных средств</a:t>
              </a:r>
            </a:p>
            <a:p>
              <a:pPr marL="204311" indent="-13620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бязанности </a:t>
              </a:r>
              <a:r>
                <a:rPr lang="ru-RU" sz="1100" b="1" spc="-4" dirty="0" err="1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нцедента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</a:t>
              </a:r>
            </a:p>
            <a:p>
              <a:pPr marL="360363" lvl="1" indent="-13493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здание сопутствующей транспортной и коммунальной инфраструктуры</a:t>
              </a:r>
            </a:p>
            <a:p>
              <a:pPr marL="360363" lvl="1" indent="-13493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едоставление МГД</a:t>
              </a:r>
            </a:p>
            <a:p>
              <a:pPr marL="360363" lvl="1" indent="-13493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озможное предоставление капитального гранта</a:t>
              </a:r>
              <a:endParaRPr lang="ru-RU" sz="1100" spc="-4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60363" lvl="1" indent="-134938" defTabSz="514350">
                <a:lnSpc>
                  <a:spcPct val="110000"/>
                </a:lnSpc>
                <a:spcAft>
                  <a:spcPts val="300"/>
                </a:spcAft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Гарантия и оплата посещения льготных групп населения</a:t>
              </a:r>
            </a:p>
            <a:p>
              <a:pPr marL="204311" lvl="1" indent="-136208" defTabSz="514350">
                <a:lnSpc>
                  <a:spcPct val="110000"/>
                </a:lnSpc>
                <a:buClr>
                  <a:srgbClr val="20B2AA"/>
                </a:buClr>
                <a:buFont typeface="Wingdings"/>
                <a:buChar char=""/>
                <a:tabLst>
                  <a:tab pos="204788" algn="l"/>
                </a:tabLst>
                <a:defRPr/>
              </a:pPr>
              <a:r>
                <a:rPr lang="ru-RU" sz="1100" b="1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бственность на объект: </a:t>
              </a:r>
              <a:r>
                <a:rPr lang="ru-RU" sz="1100" spc="-4" dirty="0">
                  <a:solidFill>
                    <a:srgbClr val="55697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государственна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027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974832" y="376380"/>
            <a:ext cx="10837652" cy="792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800" b="1" dirty="0">
                <a:solidFill>
                  <a:srgbClr val="55697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инансирование публичной сторон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8923" y="6261436"/>
            <a:ext cx="3009014" cy="3029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75877" y="2332752"/>
            <a:ext cx="3412984" cy="440011"/>
          </a:xfrm>
          <a:prstGeom prst="rect">
            <a:avLst/>
          </a:prstGeom>
          <a:noFill/>
          <a:ln/>
          <a:extLst/>
        </p:spPr>
        <p:txBody>
          <a:bodyPr/>
          <a:lstStyle>
            <a:lvl1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+mj-lt"/>
                <a:ea typeface="+mj-ea"/>
                <a:cs typeface="+mj-cs"/>
              </a:defRPr>
            </a:lvl1pPr>
            <a:lvl2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2pPr>
            <a:lvl3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3pPr>
            <a:lvl4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4pPr>
            <a:lvl5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5pPr>
            <a:lvl6pPr marL="4572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6pPr>
            <a:lvl7pPr marL="9144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7pPr>
            <a:lvl8pPr marL="13716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8pPr>
            <a:lvl9pPr marL="18288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sz="18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ая стадия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6298031" y="2352784"/>
            <a:ext cx="3599999" cy="322729"/>
          </a:xfrm>
          <a:prstGeom prst="rect">
            <a:avLst/>
          </a:prstGeom>
          <a:noFill/>
          <a:ln/>
          <a:extLst/>
        </p:spPr>
        <p:txBody>
          <a:bodyPr/>
          <a:lstStyle>
            <a:lvl1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+mj-lt"/>
                <a:ea typeface="+mj-ea"/>
                <a:cs typeface="+mj-cs"/>
              </a:defRPr>
            </a:lvl1pPr>
            <a:lvl2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2pPr>
            <a:lvl3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3pPr>
            <a:lvl4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4pPr>
            <a:lvl5pPr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5pPr>
            <a:lvl6pPr marL="4572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6pPr>
            <a:lvl7pPr marL="9144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7pPr>
            <a:lvl8pPr marL="13716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8pPr>
            <a:lvl9pPr marL="1828800" algn="l" defTabSz="9525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4069"/>
                </a:solidFill>
                <a:latin typeface="Calibri" pitchFamily="34" charset="0"/>
              </a:defRPr>
            </a:lvl9pPr>
          </a:lstStyle>
          <a:p>
            <a:r>
              <a:rPr lang="ru-RU" sz="18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луатационная</a:t>
            </a:r>
            <a:r>
              <a:rPr lang="ru-RU" sz="1600" b="1" i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дия</a:t>
            </a:r>
            <a:endParaRPr lang="ru-RU" sz="1600" b="1" dirty="0">
              <a:solidFill>
                <a:srgbClr val="55697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5230034" y="2398841"/>
            <a:ext cx="0" cy="396000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717986" y="3643614"/>
            <a:ext cx="22662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69010" y="3614558"/>
            <a:ext cx="2800920" cy="2646878"/>
          </a:xfrm>
          <a:prstGeom prst="rect">
            <a:avLst/>
          </a:prstGeom>
          <a:ln>
            <a:solidFill>
              <a:srgbClr val="20B2AA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зврат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й частной стороны осуществляется за счет выручки, остающейся в распоряжении частной стороны</a:t>
            </a:r>
          </a:p>
          <a:p>
            <a:pPr>
              <a:spcBef>
                <a:spcPts val="600"/>
              </a:spcBef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гарантий минимального дохода со стороны бюджета, вычисляемого по формуле:</a:t>
            </a:r>
          </a:p>
          <a:p>
            <a:pPr>
              <a:spcBef>
                <a:spcPts val="600"/>
              </a:spcBef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ГД=плановая выручка, необходимая для окупаемости проекта – фактическая выручка, полученная в ходе эксплуатации объект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364177" y="3619879"/>
            <a:ext cx="1847098" cy="1779718"/>
          </a:xfrm>
          <a:prstGeom prst="rect">
            <a:avLst/>
          </a:prstGeom>
          <a:ln>
            <a:solidFill>
              <a:srgbClr val="20B2AA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врат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100% инвестиций частного партнера обеспечивается за счет бюджета</a:t>
            </a:r>
          </a:p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ручка поступает в пользу бюджета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154077" y="2765225"/>
            <a:ext cx="0" cy="7150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трелка вниз 21"/>
          <p:cNvSpPr/>
          <p:nvPr/>
        </p:nvSpPr>
        <p:spPr>
          <a:xfrm>
            <a:off x="6256290" y="3290511"/>
            <a:ext cx="384808" cy="264252"/>
          </a:xfrm>
          <a:prstGeom prst="downArrow">
            <a:avLst/>
          </a:prstGeom>
          <a:solidFill>
            <a:srgbClr val="20B2AA"/>
          </a:solidFill>
          <a:ln>
            <a:solidFill>
              <a:srgbClr val="20B2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8798790" y="3278308"/>
            <a:ext cx="384808" cy="264252"/>
          </a:xfrm>
          <a:prstGeom prst="downArrow">
            <a:avLst/>
          </a:prstGeom>
          <a:solidFill>
            <a:srgbClr val="20B2AA"/>
          </a:solidFill>
          <a:ln>
            <a:solidFill>
              <a:srgbClr val="20B2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право 23"/>
          <p:cNvSpPr/>
          <p:nvPr/>
        </p:nvSpPr>
        <p:spPr>
          <a:xfrm>
            <a:off x="2157872" y="2437608"/>
            <a:ext cx="9183418" cy="1227991"/>
          </a:xfrm>
          <a:prstGeom prst="rightArrow">
            <a:avLst>
              <a:gd name="adj1" fmla="val 50000"/>
              <a:gd name="adj2" fmla="val 76452"/>
            </a:avLst>
          </a:prstGeom>
          <a:solidFill>
            <a:srgbClr val="20B2AA"/>
          </a:solidFill>
          <a:ln>
            <a:solidFill>
              <a:srgbClr val="20B2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ГД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205221" y="2684623"/>
            <a:ext cx="29542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финансирование</a:t>
            </a:r>
            <a:r>
              <a: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апитальных расходов (капитальный грант) </a:t>
            </a:r>
          </a:p>
          <a:p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66924" y="3651613"/>
            <a:ext cx="2647859" cy="2569934"/>
          </a:xfrm>
          <a:prstGeom prst="rect">
            <a:avLst/>
          </a:prstGeom>
          <a:noFill/>
          <a:ln>
            <a:solidFill>
              <a:srgbClr val="20B2AA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личина капитального  гранта зависит от позиции публичной стороны и коммерческой составляющей проекта, рассчитывается на основании предоставленной финансовой модели проекта</a:t>
            </a:r>
          </a:p>
          <a:p>
            <a:pPr>
              <a:spcBef>
                <a:spcPts val="600"/>
              </a:spcBef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капитального гранта для достижения экономической эффективности проекта – до 50 % от объема капитальных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ходов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380574" y="5633139"/>
            <a:ext cx="203768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луатационный платеж в рамках СГЧП или плата за доступность в рамках КС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1045840" y="1134595"/>
            <a:ext cx="10433373" cy="1033758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solidFill>
              <a:srgbClr val="20B2AA"/>
            </a:solidFill>
          </a:ln>
        </p:spPr>
        <p:txBody>
          <a:bodyPr wrap="square">
            <a:spAutoFit/>
          </a:bodyPr>
          <a:lstStyle/>
          <a:p>
            <a:pPr indent="180975">
              <a:lnSpc>
                <a:spcPct val="114000"/>
              </a:lnSpc>
            </a:pPr>
            <a:r>
              <a:rPr lang="ru-RU" sz="1200" dirty="0">
                <a:solidFill>
                  <a:srgbClr val="5569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эффективной реализации современных и масштабных проектов по созданию комплексных парковых пространств на этапе структурирования  необходимо предусматривать финансовые обязательства со стороны государства. Это будет способствовать привлечению частных инвесторов в проект, а также значительно повысит привлекательность проекта для финансирующих организаций, что позволит реализовывать более качественные и капиталоемкие проекты.  </a:t>
            </a: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9213" y="139700"/>
            <a:ext cx="615950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8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800431" y="6106664"/>
            <a:ext cx="2743557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prstClr val="black">
                    <a:tint val="75000"/>
                  </a:prstClr>
                </a:solidFill>
                <a:latin typeface="Calibri"/>
                <a:ea typeface="Microsoft YaHei" panose="020B0503020204020204" pitchFamily="34" charset="-122"/>
              </a:rPr>
              <a:t>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Microsoft YaHei" panose="020B0503020204020204" pitchFamily="34" charset="-122"/>
              <a:cs typeface="+mn-cs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81292" y="1286952"/>
            <a:ext cx="729044" cy="72904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139224" y="2908268"/>
            <a:ext cx="7380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</a:t>
            </a:r>
            <a:endParaRPr lang="ru-RU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923469" y="2760337"/>
            <a:ext cx="2287806" cy="5627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ранее</a:t>
            </a:r>
          </a:p>
          <a:p>
            <a:pPr algn="ctr">
              <a:lnSpc>
                <a:spcPct val="115000"/>
              </a:lnSpc>
            </a:pPr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ределенная плата*</a:t>
            </a:r>
          </a:p>
        </p:txBody>
      </p:sp>
    </p:spTree>
    <p:extLst>
      <p:ext uri="{BB962C8B-B14F-4D97-AF65-F5344CB8AC3E}">
        <p14:creationId xmlns:p14="http://schemas.microsoft.com/office/powerpoint/2010/main" val="348427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>
          <a:xfrm>
            <a:off x="1665027" y="3138985"/>
            <a:ext cx="2497540" cy="42308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608036F-0827-4BE9-8A54-6639714BBCEC}"/>
              </a:ext>
            </a:extLst>
          </p:cNvPr>
          <p:cNvSpPr/>
          <p:nvPr/>
        </p:nvSpPr>
        <p:spPr>
          <a:xfrm>
            <a:off x="-109184" y="6670"/>
            <a:ext cx="6209731" cy="6879236"/>
          </a:xfrm>
          <a:prstGeom prst="rect">
            <a:avLst/>
          </a:prstGeom>
          <a:gradFill flip="none" rotWithShape="1">
            <a:gsLst>
              <a:gs pos="58000">
                <a:srgbClr val="556973">
                  <a:alpha val="71000"/>
                </a:srgbClr>
              </a:gs>
              <a:gs pos="0">
                <a:srgbClr val="AFABAB">
                  <a:alpha val="80000"/>
                </a:srgbClr>
              </a:gs>
            </a:gsLst>
            <a:path path="circl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21979">
              <a:defRPr/>
            </a:pPr>
            <a:endParaRPr lang="ru-RU" sz="1661" kern="0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758" y="1289744"/>
            <a:ext cx="3759283" cy="4298981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7126011" y="4087368"/>
            <a:ext cx="4488873" cy="2770632"/>
          </a:xfrm>
          <a:prstGeom prst="rect">
            <a:avLst/>
          </a:prstGeom>
          <a:solidFill>
            <a:srgbClr val="2F44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686" y="4445622"/>
            <a:ext cx="2457379" cy="1918310"/>
          </a:xfrm>
          <a:prstGeom prst="rect">
            <a:avLst/>
          </a:prstGeom>
        </p:spPr>
      </p:pic>
      <p:sp>
        <p:nvSpPr>
          <p:cNvPr id="16" name="Заголовок 2"/>
          <p:cNvSpPr txBox="1">
            <a:spLocks/>
          </p:cNvSpPr>
          <p:nvPr/>
        </p:nvSpPr>
        <p:spPr>
          <a:xfrm>
            <a:off x="7437784" y="832804"/>
            <a:ext cx="3699182" cy="216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300" dirty="0">
                <a:solidFill>
                  <a:prstClr val="white"/>
                </a:solidFill>
              </a:rPr>
              <a:t/>
            </a:r>
            <a:br>
              <a:rPr lang="ru-RU" sz="1300" dirty="0">
                <a:solidFill>
                  <a:prstClr val="white"/>
                </a:solidFill>
              </a:rPr>
            </a:br>
            <a:endParaRPr lang="ru-RU" sz="1300" dirty="0">
              <a:solidFill>
                <a:prstClr val="white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prstClr val="white"/>
                </a:solidFill>
              </a:rPr>
              <a:t>www.vebinfra.ru</a:t>
            </a:r>
            <a:r>
              <a:rPr lang="ru-RU" sz="1800" dirty="0">
                <a:solidFill>
                  <a:prstClr val="white"/>
                </a:solidFill>
              </a:rPr>
              <a:t/>
            </a:r>
            <a:br>
              <a:rPr lang="ru-RU" sz="1800" dirty="0">
                <a:solidFill>
                  <a:prstClr val="white"/>
                </a:solidFill>
              </a:rPr>
            </a:br>
            <a:r>
              <a:rPr lang="ru-RU" sz="1800" dirty="0">
                <a:solidFill>
                  <a:prstClr val="white"/>
                </a:solidFill>
              </a:rPr>
              <a:t>тел.: +7 (495) 777 39 93 </a:t>
            </a:r>
            <a:br>
              <a:rPr lang="ru-RU" sz="1800" dirty="0">
                <a:solidFill>
                  <a:prstClr val="white"/>
                </a:solidFill>
              </a:rPr>
            </a:br>
            <a:r>
              <a:rPr lang="en-US" sz="1800" dirty="0" smtClean="0">
                <a:solidFill>
                  <a:prstClr val="white"/>
                </a:solidFill>
              </a:rPr>
              <a:t>p@vebinfra.ru</a:t>
            </a:r>
            <a:endParaRPr lang="ru-RU" sz="1800" dirty="0">
              <a:solidFill>
                <a:prstClr val="white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prstClr val="white"/>
                </a:solidFill>
              </a:rPr>
              <a:t/>
            </a:r>
            <a:br>
              <a:rPr lang="en-US" sz="1800" dirty="0">
                <a:solidFill>
                  <a:prstClr val="white"/>
                </a:solidFill>
              </a:rPr>
            </a:br>
            <a:r>
              <a:rPr lang="ru-RU" sz="1800" dirty="0">
                <a:solidFill>
                  <a:prstClr val="white"/>
                </a:solidFill>
              </a:rPr>
              <a:t>119019, г. Москва, Россия,</a:t>
            </a:r>
          </a:p>
          <a:p>
            <a:pPr>
              <a:lnSpc>
                <a:spcPct val="100000"/>
              </a:lnSpc>
            </a:pPr>
            <a:r>
              <a:rPr lang="ru-RU" sz="1800" dirty="0">
                <a:solidFill>
                  <a:prstClr val="white"/>
                </a:solidFill>
              </a:rPr>
              <a:t>ул. Воздвиженка, д. 7/6, стр. 1</a:t>
            </a:r>
          </a:p>
        </p:txBody>
      </p:sp>
    </p:spTree>
    <p:extLst>
      <p:ext uri="{BB962C8B-B14F-4D97-AF65-F5344CB8AC3E}">
        <p14:creationId xmlns:p14="http://schemas.microsoft.com/office/powerpoint/2010/main" val="1249894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S3Vw5zX5rnDM1fELi69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презентации.potx" id="{EA7BFCB4-C7BE-4BFB-B6D1-A4F561CFAB7F}" vid="{608BE079-A222-499B-8645-821F39CFED3B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презентации.potx" id="{EA7BFCB4-C7BE-4BFB-B6D1-A4F561CFAB7F}" vid="{608BE079-A222-499B-8645-821F39CFED3B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_презентации_20181102</Template>
  <TotalTime>48158</TotalTime>
  <Words>734</Words>
  <Application>Microsoft Office PowerPoint</Application>
  <PresentationFormat>Широкоэкранный</PresentationFormat>
  <Paragraphs>100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5" baseType="lpstr">
      <vt:lpstr>Microsoft YaHei</vt:lpstr>
      <vt:lpstr>Arial</vt:lpstr>
      <vt:lpstr>Calibri</vt:lpstr>
      <vt:lpstr>Tahoma</vt:lpstr>
      <vt:lpstr>Wingdings</vt:lpstr>
      <vt:lpstr>Тема Office</vt:lpstr>
      <vt:lpstr>1_Тема Office</vt:lpstr>
      <vt:lpstr>Слайд think-cell</vt:lpstr>
      <vt:lpstr>Реализация проектов по созданию парковых пространств с применением механизмов ГЧП</vt:lpstr>
      <vt:lpstr>Парки – почему PPP</vt:lpstr>
      <vt:lpstr>ГЧП в благоустройстве общественных пространств</vt:lpstr>
      <vt:lpstr>Парки как часть работы по созданию устойчивых городов </vt:lpstr>
      <vt:lpstr>Возможные варианты реализации проекта по созданию парковой инфраструктуры с применением механизмов ГЧП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ОЯН Камо Ерчаникович</dc:creator>
  <cp:lastModifiedBy>МАЛЮТИН Кирилл Михайлович</cp:lastModifiedBy>
  <cp:revision>367</cp:revision>
  <cp:lastPrinted>2019-03-29T14:48:05Z</cp:lastPrinted>
  <dcterms:created xsi:type="dcterms:W3CDTF">2018-11-02T07:05:00Z</dcterms:created>
  <dcterms:modified xsi:type="dcterms:W3CDTF">2021-09-27T14:23:24Z</dcterms:modified>
</cp:coreProperties>
</file>